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357" r:id="rId2"/>
    <p:sldId id="358" r:id="rId3"/>
  </p:sldIdLst>
  <p:sldSz cx="10691813" cy="7559675"/>
  <p:notesSz cx="7315200" cy="9601200"/>
  <p:custDataLst>
    <p:tags r:id="rId6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05" autoAdjust="0"/>
  </p:normalViewPr>
  <p:slideViewPr>
    <p:cSldViewPr snapToGrid="0" showGuides="1">
      <p:cViewPr varScale="1">
        <p:scale>
          <a:sx n="104" d="100"/>
          <a:sy n="104" d="100"/>
        </p:scale>
        <p:origin x="1302" y="102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LID4096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LID4096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Лист1!$A$1:$B$6</c:f>
              <c:multiLvlStrCache>
                <c:ptCount val="6"/>
                <c:lvl>
                  <c:pt idx="0">
                    <c:v>Dresses</c:v>
                  </c:pt>
                  <c:pt idx="1">
                    <c:v>Tops</c:v>
                  </c:pt>
                  <c:pt idx="2">
                    <c:v>Boots</c:v>
                  </c:pt>
                  <c:pt idx="3">
                    <c:v>Flats</c:v>
                  </c:pt>
                  <c:pt idx="4">
                    <c:v>Bags</c:v>
                  </c:pt>
                  <c:pt idx="5">
                    <c:v>Belts</c:v>
                  </c:pt>
                </c:lvl>
                <c:lvl>
                  <c:pt idx="0">
                    <c:v>Clothing</c:v>
                  </c:pt>
                  <c:pt idx="2">
                    <c:v>Shoes</c:v>
                  </c:pt>
                  <c:pt idx="4">
                    <c:v>Accessories</c:v>
                  </c:pt>
                </c:lvl>
              </c:multiLvlStrCache>
            </c:multiLvlStrRef>
          </c:cat>
          <c:val>
            <c:numRef>
              <c:f>Лист1!$C$1:$C$6</c:f>
              <c:numCache>
                <c:formatCode>General</c:formatCode>
                <c:ptCount val="6"/>
                <c:pt idx="0">
                  <c:v>19</c:v>
                </c:pt>
                <c:pt idx="1">
                  <c:v>46</c:v>
                </c:pt>
                <c:pt idx="2">
                  <c:v>9</c:v>
                </c:pt>
                <c:pt idx="3">
                  <c:v>18</c:v>
                </c:pt>
                <c:pt idx="4">
                  <c:v>2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A-4113-B132-FF282F916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52470559"/>
        <c:axId val="162226143"/>
      </c:barChart>
      <c:catAx>
        <c:axId val="2524705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62226143"/>
        <c:crosses val="autoZero"/>
        <c:auto val="1"/>
        <c:lblAlgn val="ctr"/>
        <c:lblOffset val="100"/>
        <c:noMultiLvlLbl val="0"/>
      </c:catAx>
      <c:valAx>
        <c:axId val="162226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252470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ID4096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LID4096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C-4799-AAE9-98785393A43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DC-4799-AAE9-98785393A43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C-4799-AAE9-98785393A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2838592"/>
        <c:axId val="1700667152"/>
      </c:barChart>
      <c:catAx>
        <c:axId val="185283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700667152"/>
        <c:crosses val="autoZero"/>
        <c:auto val="1"/>
        <c:lblAlgn val="ctr"/>
        <c:lblOffset val="100"/>
        <c:noMultiLvlLbl val="0"/>
      </c:catAx>
      <c:valAx>
        <c:axId val="170066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852838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ID4096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LID4096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85FF-4A9E-A301-DA0EAA17C6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9-85FF-4A9E-A301-DA0EAA17C6A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C000"/>
            </a:solidFill>
          </c:spPr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5FF-4A9E-A301-DA0EAA17C6A6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E-85FF-4A9E-A301-DA0EAA17C6A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2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13-85FF-4A9E-A301-DA0EAA17C6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LID4096"/>
        </a:p>
      </c:txPr>
    </c:legend>
    <c:plotVisOnly val="1"/>
    <c:dispBlanksAs val="gap"/>
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haroni" panose="020B0604020202020204" pitchFamily="2" charset="-79"/>
          <a:cs typeface="Aharoni" panose="020B0604020202020204" pitchFamily="2" charset="-79"/>
        </a:defRPr>
      </a:pPr>
      <a:endParaRPr lang="LID4096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35110235145903E-2"/>
          <c:y val="2.3303834808259601E-2"/>
          <c:w val="0.94843363115757995"/>
          <c:h val="0.8169081132557549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9B82-4F0A-BBF2-F487496F06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pPr>
              <a:solidFill>
                <a:schemeClr val="accent2"/>
              </a:solidFill>
              <a:ln w="6350" cap="flat" cmpd="sng" algn="ctr">
                <a:solidFill>
                  <a:schemeClr val="accent2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1-9B82-4F0A-BBF2-F487496F06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2-9B82-4F0A-BBF2-F487496F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6974280"/>
        <c:axId val="1576974672"/>
      </c:scatterChart>
      <c:valAx>
        <c:axId val="15769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76974672"/>
        <c:crosses val="autoZero"/>
        <c:crossBetween val="midCat"/>
      </c:valAx>
      <c:valAx>
        <c:axId val="157697467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576974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LID4096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22176568382323"/>
          <c:y val="0"/>
          <c:w val="0.65565508756623625"/>
          <c:h val="0.9978408297718617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555555555555046E-3"/>
                  <c:y val="6.2208398133748056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F747757-19F5-4ABC-A33B-AD86676DF289}" type="VALUE">
                      <a:rPr lang="en-US"/>
                      <a:pPr>
                        <a:defRPr/>
                      </a:pPr>
                      <a:t>[VALUE]</a:t>
                    </a:fld>
                    <a:r>
                      <a:rPr lang="uk-UA"/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LID4096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55C-46C5-8EE8-42EFA5183349}"/>
                </c:ext>
              </c:extLst>
            </c:dLbl>
            <c:dLbl>
              <c:idx val="1"/>
              <c:layout>
                <c:manualLayout>
                  <c:x val="-0.32885852739855004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BB37A977-F77F-43F7-8121-602A1D70F51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uk-UA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LID4096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layout>
                    <c:manualLayout>
                      <c:w val="0.22184684684684686"/>
                      <c:h val="0.227864371576834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5C-46C5-8EE8-42EFA5183349}"/>
                </c:ext>
              </c:extLst>
            </c:dLbl>
            <c:dLbl>
              <c:idx val="2"/>
              <c:layout>
                <c:manualLayout>
                  <c:x val="-0.28333333333333338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71A73C0-352E-47AB-9FBF-A7E95B1314BF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uk-UA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LID4096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layout>
                    <c:manualLayout>
                      <c:w val="0.26863888888888887"/>
                      <c:h val="0.124976671850699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55C-46C5-8EE8-42EFA51833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4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LID4096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3:$B$5</c:f>
              <c:strCache>
                <c:ptCount val="3"/>
                <c:pt idx="0">
                  <c:v>EBITDA</c:v>
                </c:pt>
                <c:pt idx="1">
                  <c:v>Выручка</c:v>
                </c:pt>
                <c:pt idx="2">
                  <c:v>Капитализация</c:v>
                </c:pt>
              </c:strCache>
            </c:strRef>
          </c:cat>
          <c:val>
            <c:numRef>
              <c:f>Лист1!$C$3:$C$5</c:f>
              <c:numCache>
                <c:formatCode>_(* #,##0_);_(* \(#,##0\);_(* "-"_);_(@_)</c:formatCode>
                <c:ptCount val="3"/>
                <c:pt idx="0">
                  <c:v>72.662768922074051</c:v>
                </c:pt>
                <c:pt idx="1">
                  <c:v>382.10210188000002</c:v>
                </c:pt>
                <c:pt idx="2">
                  <c:v>437.23806199976224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3-355C-46C5-8EE8-42EFA5183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72795048"/>
        <c:axId val="372798984"/>
      </c:barChart>
      <c:catAx>
        <c:axId val="372795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LID4096"/>
          </a:p>
        </c:txPr>
        <c:crossAx val="372798984"/>
        <c:crosses val="autoZero"/>
        <c:auto val="1"/>
        <c:lblAlgn val="ctr"/>
        <c:lblOffset val="100"/>
        <c:noMultiLvlLbl val="0"/>
      </c:catAx>
      <c:valAx>
        <c:axId val="372798984"/>
        <c:scaling>
          <c:orientation val="minMax"/>
        </c:scaling>
        <c:delete val="0"/>
        <c:axPos val="b"/>
        <c:numFmt formatCode="_(* #,##0_);_(* \(#,##0\);_(* &quot;-&quot;_);_(@_)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LID4096"/>
          </a:p>
        </c:txPr>
        <c:crossAx val="372795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4000">
          <a:latin typeface="Times New Roman" panose="02020603050405020304" pitchFamily="18" charset="0"/>
          <a:cs typeface="Times New Roman" panose="02020603050405020304" pitchFamily="18" charset="0"/>
        </a:defRPr>
      </a:pPr>
      <a:endParaRPr lang="LID4096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11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1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2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5441859" y="7139694"/>
            <a:ext cx="4294054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Presentation title</a:t>
            </a:r>
            <a:br>
              <a:rPr lang="en-US" sz="704" noProof="0" dirty="0">
                <a:solidFill>
                  <a:schemeClr val="tx1"/>
                </a:solidFill>
              </a:rPr>
            </a:br>
            <a:r>
              <a:rPr lang="en-US" sz="704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5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© 2017 XXX</a:t>
            </a:r>
            <a:endParaRPr lang="fr-FR" sz="704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tx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#›</a:t>
            </a:fld>
            <a:endParaRPr lang="en-US" sz="704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142171"/>
              </p:ext>
            </p:extLst>
          </p:nvPr>
        </p:nvGraphicFramePr>
        <p:xfrm>
          <a:off x="786664" y="1967590"/>
          <a:ext cx="2971800" cy="4061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3B0FCC5-78BD-4E18-8B5A-F3394FA2FB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8455980"/>
              </p:ext>
            </p:extLst>
          </p:nvPr>
        </p:nvGraphicFramePr>
        <p:xfrm>
          <a:off x="4824052" y="957684"/>
          <a:ext cx="4572000" cy="272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98117D74-43FF-4698-B23E-D3330C496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3949083"/>
              </p:ext>
            </p:extLst>
          </p:nvPr>
        </p:nvGraphicFramePr>
        <p:xfrm>
          <a:off x="590479" y="3683299"/>
          <a:ext cx="4572000" cy="2844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704F77D-392A-4DDC-8473-AB674D9882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9922892"/>
              </p:ext>
            </p:extLst>
          </p:nvPr>
        </p:nvGraphicFramePr>
        <p:xfrm>
          <a:off x="5942842" y="4228866"/>
          <a:ext cx="2926036" cy="1800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832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c="http://schemas.openxmlformats.org/drawingml/2006/chart" xmlns:v="urn:schemas-microsoft-com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086459C9-AF50-4700-9D87-EF192F1E02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16394"/>
              </p:ext>
            </p:extLst>
          </p:nvPr>
        </p:nvGraphicFramePr>
        <p:xfrm>
          <a:off x="1082878" y="546298"/>
          <a:ext cx="3950414" cy="2487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19">
            <a:extLst>
              <a:ext uri="{FF2B5EF4-FFF2-40B4-BE49-F238E27FC236}">
                <a16:creationId xmlns:a16="http://schemas.microsoft.com/office/drawing/2014/main" id="{0EBD4F82-AEC0-4F7E-AEC0-0551A23FF2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3372387"/>
              </p:ext>
            </p:extLst>
          </p:nvPr>
        </p:nvGraphicFramePr>
        <p:xfrm>
          <a:off x="1318145" y="3779837"/>
          <a:ext cx="6929927" cy="239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0951825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ENG_LLC.potx" id="{CD6F3E51-B384-427F-9D32-7DABADD67481}" vid="{E9AE5A54-21B0-4ED6-AD8A-7298FA3DCE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int_ENG_LLC</Template>
  <TotalTime>0</TotalTime>
  <Words>15</Words>
  <Application>Microsoft Office PowerPoint</Application>
  <PresentationFormat>Custom</PresentationFormat>
  <Paragraphs>6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haroni</vt:lpstr>
      <vt:lpstr>Arial</vt:lpstr>
      <vt:lpstr>Times New Roman</vt:lpstr>
      <vt:lpstr>Verdana</vt:lpstr>
      <vt:lpstr>2 Slides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20T11:38:22Z</dcterms:created>
  <dcterms:modified xsi:type="dcterms:W3CDTF">2020-05-11T12:19:44Z</dcterms:modified>
</cp:coreProperties>
</file>